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svg" ContentType="image/svg+xml"/>
  <Default Extension="png" ContentType="image/pn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s/slide128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437.xml" ContentType="application/vnd.openxmlformats-officedocument.presentationml.tags+xml"/>
  <Override PartName="/ppt/notesSlides/notesSlide128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86" r:id="rId131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openxmlformats.org/officeDocument/2006/relationships/slide" Target="/ppt/slides/slide128.xml" Id="rId131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32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28.xml.rels>&#65279;<?xml version="1.0" encoding="utf-8"?><Relationships xmlns="http://schemas.openxmlformats.org/package/2006/relationships"><Relationship Type="http://schemas.openxmlformats.org/officeDocument/2006/relationships/slide" Target="/ppt/slides/slide128.xml" Id="rId2" /><Relationship Type="http://schemas.openxmlformats.org/officeDocument/2006/relationships/notesMaster" Target="/ppt/notesMasters/notesMaster1.xml" Id="rId1" /></Relationships>
</file>

<file path=ppt/notesSlides/notesSlide1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5077412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28.xml.rels>&#65279;<?xml version="1.0" encoding="utf-8"?><Relationships xmlns="http://schemas.openxmlformats.org/package/2006/relationships"><Relationship Type="http://schemas.openxmlformats.org/officeDocument/2006/relationships/image" Target="/ppt/media/image155.svg" Id="rId8" /><Relationship Type="http://schemas.openxmlformats.org/officeDocument/2006/relationships/image" Target="/ppt/media/image150.png" Id="rId13" /><Relationship Type="http://schemas.openxmlformats.org/officeDocument/2006/relationships/slideLayout" Target="/ppt/slideLayouts/slideLayout5.xml" Id="rId3" /><Relationship Type="http://schemas.openxmlformats.org/officeDocument/2006/relationships/image" Target="/ppt/media/image154.png" Id="rId7" /><Relationship Type="http://schemas.openxmlformats.org/officeDocument/2006/relationships/image" Target="/ppt/media/image157.svg" Id="rId12" /><Relationship Type="http://schemas.openxmlformats.org/officeDocument/2006/relationships/tags" Target="/ppt/tags/tag437.xml" Id="rId2" /><Relationship Type="http://schemas.openxmlformats.org/officeDocument/2006/relationships/vmlDrawing" Target="/ppt/drawings/vmlDrawing132.vml" Id="rId1" /><Relationship Type="http://schemas.openxmlformats.org/officeDocument/2006/relationships/image" Target="/ppt/media/image4.emf" Id="rId6" /><Relationship Type="http://schemas.openxmlformats.org/officeDocument/2006/relationships/image" Target="/ppt/media/image156.png" Id="rId11" /><Relationship Type="http://schemas.openxmlformats.org/officeDocument/2006/relationships/oleObject" Target="/ppt/embeddings/oleObject132.bin" Id="rId5" /><Relationship Type="http://schemas.openxmlformats.org/officeDocument/2006/relationships/image" Target="/ppt/media/image147.svg" Id="rId10" /><Relationship Type="http://schemas.openxmlformats.org/officeDocument/2006/relationships/notesSlide" Target="/ppt/notesSlides/notesSlide128.xml" Id="rId4" /><Relationship Type="http://schemas.openxmlformats.org/officeDocument/2006/relationships/image" Target="/ppt/media/image146.png" Id="rId9" /><Relationship Type="http://schemas.openxmlformats.org/officeDocument/2006/relationships/image" Target="/ppt/media/image151.svg" Id="rId14" /></Relationships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9676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27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Title 46">
            <a:extLst>
              <a:ext uri="{FF2B5EF4-FFF2-40B4-BE49-F238E27FC236}">
                <a16:creationId xmlns:a16="http://schemas.microsoft.com/office/drawing/2014/main" id="{39418A1E-8B47-548D-F149-74A390EF69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Infographic process with results</a:t>
            </a:r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8EC76F26-913C-E233-F9A4-9956FAF1D4BD}"/>
              </a:ext>
            </a:extLst>
          </p:cNvPr>
          <p:cNvSpPr>
            <a:spLocks/>
          </p:cNvSpPr>
          <p:nvPr/>
        </p:nvSpPr>
        <p:spPr bwMode="gray">
          <a:xfrm>
            <a:off x="403201" y="4949308"/>
            <a:ext cx="2493917" cy="8623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lvl="1" algn="ctr">
              <a:spcAft>
                <a:spcPts val="600"/>
              </a:spcAft>
              <a:buClr>
                <a:srgbClr val="000000"/>
              </a:buClr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,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consectetur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dipiscing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li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. Sed do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iusmo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tempor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incididun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labore et dolore magna.</a:t>
            </a:r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24DC4C0B-6DBB-1D5B-53C1-6A1038812A68}"/>
              </a:ext>
            </a:extLst>
          </p:cNvPr>
          <p:cNvSpPr>
            <a:spLocks/>
          </p:cNvSpPr>
          <p:nvPr/>
        </p:nvSpPr>
        <p:spPr bwMode="gray">
          <a:xfrm>
            <a:off x="3367252" y="4949308"/>
            <a:ext cx="2493917" cy="8623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lvl="1" algn="ctr">
              <a:spcAft>
                <a:spcPts val="600"/>
              </a:spcAft>
              <a:buClr>
                <a:srgbClr val="000000"/>
              </a:buClr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,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consectetur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dipiscing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li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. Sed do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iusmo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tempor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incididun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labore et dolore magna.</a:t>
            </a:r>
          </a:p>
        </p:txBody>
      </p:sp>
      <p:sp>
        <p:nvSpPr>
          <p:cNvPr id="18" name="Rectangle 3">
            <a:extLst>
              <a:ext uri="{FF2B5EF4-FFF2-40B4-BE49-F238E27FC236}">
                <a16:creationId xmlns:a16="http://schemas.microsoft.com/office/drawing/2014/main" id="{01248835-C328-2087-2C33-FE205497EAC3}"/>
              </a:ext>
            </a:extLst>
          </p:cNvPr>
          <p:cNvSpPr>
            <a:spLocks/>
          </p:cNvSpPr>
          <p:nvPr/>
        </p:nvSpPr>
        <p:spPr bwMode="gray">
          <a:xfrm>
            <a:off x="6336594" y="4949308"/>
            <a:ext cx="2493917" cy="8623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lvl="1" algn="ctr">
              <a:spcAft>
                <a:spcPts val="600"/>
              </a:spcAft>
              <a:buClr>
                <a:srgbClr val="000000"/>
              </a:buClr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,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consectetur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dipiscing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li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. Sed do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iusmo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tempor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incididun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labore et dolore magna.</a:t>
            </a:r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FD4ABE08-3CAF-3B32-7136-10FC7B4828AE}"/>
              </a:ext>
            </a:extLst>
          </p:cNvPr>
          <p:cNvSpPr>
            <a:spLocks/>
          </p:cNvSpPr>
          <p:nvPr/>
        </p:nvSpPr>
        <p:spPr bwMode="gray">
          <a:xfrm>
            <a:off x="403201" y="3851020"/>
            <a:ext cx="2493919" cy="4311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7948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</a:rPr>
              <a:t>01.</a:t>
            </a: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C22D3F03-DC39-2E5C-2EA2-EE4D2B65102C}"/>
              </a:ext>
            </a:extLst>
          </p:cNvPr>
          <p:cNvSpPr>
            <a:spLocks/>
          </p:cNvSpPr>
          <p:nvPr/>
        </p:nvSpPr>
        <p:spPr bwMode="gray">
          <a:xfrm>
            <a:off x="3367252" y="3851020"/>
            <a:ext cx="2493919" cy="4311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7948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</a:rPr>
              <a:t>02.</a:t>
            </a:r>
          </a:p>
        </p:txBody>
      </p:sp>
      <p:sp>
        <p:nvSpPr>
          <p:cNvPr id="17" name="Rectangle 3">
            <a:extLst>
              <a:ext uri="{FF2B5EF4-FFF2-40B4-BE49-F238E27FC236}">
                <a16:creationId xmlns:a16="http://schemas.microsoft.com/office/drawing/2014/main" id="{5FE1D667-FBB4-78A8-9057-60A76DB944D3}"/>
              </a:ext>
            </a:extLst>
          </p:cNvPr>
          <p:cNvSpPr>
            <a:spLocks/>
          </p:cNvSpPr>
          <p:nvPr/>
        </p:nvSpPr>
        <p:spPr bwMode="gray">
          <a:xfrm>
            <a:off x="6336594" y="3851020"/>
            <a:ext cx="2493919" cy="4311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7948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</a:rPr>
              <a:t>03.</a:t>
            </a:r>
          </a:p>
        </p:txBody>
      </p:sp>
      <p:sp>
        <p:nvSpPr>
          <p:cNvPr id="21" name="Rectangle 3">
            <a:extLst>
              <a:ext uri="{FF2B5EF4-FFF2-40B4-BE49-F238E27FC236}">
                <a16:creationId xmlns:a16="http://schemas.microsoft.com/office/drawing/2014/main" id="{44A01ECE-EA61-5130-4796-FADEDE3C3437}"/>
              </a:ext>
            </a:extLst>
          </p:cNvPr>
          <p:cNvSpPr>
            <a:spLocks/>
          </p:cNvSpPr>
          <p:nvPr/>
        </p:nvSpPr>
        <p:spPr bwMode="gray">
          <a:xfrm>
            <a:off x="9297626" y="3851020"/>
            <a:ext cx="2493919" cy="4311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7948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</a:rPr>
              <a:t>04.</a:t>
            </a:r>
          </a:p>
        </p:txBody>
      </p:sp>
      <p:sp>
        <p:nvSpPr>
          <p:cNvPr id="22" name="Rectangle 3">
            <a:extLst>
              <a:ext uri="{FF2B5EF4-FFF2-40B4-BE49-F238E27FC236}">
                <a16:creationId xmlns:a16="http://schemas.microsoft.com/office/drawing/2014/main" id="{53DE11F9-702E-948E-C215-9A4A4E24EF2C}"/>
              </a:ext>
            </a:extLst>
          </p:cNvPr>
          <p:cNvSpPr>
            <a:spLocks/>
          </p:cNvSpPr>
          <p:nvPr/>
        </p:nvSpPr>
        <p:spPr bwMode="gray">
          <a:xfrm>
            <a:off x="9297626" y="4949308"/>
            <a:ext cx="2493917" cy="8623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lvl="1" algn="ctr">
              <a:spcAft>
                <a:spcPts val="600"/>
              </a:spcAft>
              <a:buClr>
                <a:srgbClr val="000000"/>
              </a:buClr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,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consectetur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dipiscing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li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. Sed do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iusmo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tempor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incididun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labore et dolore magna.</a:t>
            </a:r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C4892335-831C-0BB9-3642-57D4C1BA01FD}"/>
              </a:ext>
            </a:extLst>
          </p:cNvPr>
          <p:cNvSpPr>
            <a:spLocks/>
          </p:cNvSpPr>
          <p:nvPr/>
        </p:nvSpPr>
        <p:spPr bwMode="gray">
          <a:xfrm>
            <a:off x="403201" y="2652380"/>
            <a:ext cx="2493917" cy="36956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indent="0" algn="ctr" fontAlgn="base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2400">
                <a:solidFill>
                  <a:schemeClr val="tx2"/>
                </a:solidFill>
              </a:rPr>
              <a:t>Lorem ipsum</a:t>
            </a:r>
          </a:p>
        </p:txBody>
      </p:sp>
      <p:sp>
        <p:nvSpPr>
          <p:cNvPr id="12" name="Rectangle 3">
            <a:extLst>
              <a:ext uri="{FF2B5EF4-FFF2-40B4-BE49-F238E27FC236}">
                <a16:creationId xmlns:a16="http://schemas.microsoft.com/office/drawing/2014/main" id="{92642229-6843-0CCC-D10B-1BE0A46DDB9C}"/>
              </a:ext>
            </a:extLst>
          </p:cNvPr>
          <p:cNvSpPr>
            <a:spLocks/>
          </p:cNvSpPr>
          <p:nvPr/>
        </p:nvSpPr>
        <p:spPr bwMode="gray">
          <a:xfrm>
            <a:off x="403201" y="3160451"/>
            <a:ext cx="2493917" cy="4311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indent="0" algn="ctr" fontAlgn="base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1400" b="1">
                <a:solidFill>
                  <a:schemeClr val="accent1"/>
                </a:solidFill>
              </a:rPr>
              <a:t>Cras </a:t>
            </a:r>
            <a:r>
              <a:rPr lang="en-US" sz="1400" b="1" err="1">
                <a:solidFill>
                  <a:schemeClr val="accent1"/>
                </a:solidFill>
              </a:rPr>
              <a:t>fringilla</a:t>
            </a:r>
            <a:r>
              <a:rPr lang="en-US" sz="1400" b="1">
                <a:solidFill>
                  <a:schemeClr val="accent1"/>
                </a:solidFill>
              </a:rPr>
              <a:t> </a:t>
            </a:r>
            <a:r>
              <a:rPr lang="en-US" sz="1400" b="1" err="1">
                <a:solidFill>
                  <a:schemeClr val="accent1"/>
                </a:solidFill>
              </a:rPr>
              <a:t>felis</a:t>
            </a:r>
            <a:br>
              <a:rPr lang="en-US" sz="1400" b="1">
                <a:solidFill>
                  <a:schemeClr val="accent1"/>
                </a:solidFill>
              </a:rPr>
            </a:br>
            <a:r>
              <a:rPr lang="en-US" sz="1400" b="1" err="1">
                <a:solidFill>
                  <a:schemeClr val="accent1"/>
                </a:solidFill>
              </a:rPr>
              <a:t>amet</a:t>
            </a:r>
            <a:r>
              <a:rPr lang="en-US" sz="1400" b="1">
                <a:solidFill>
                  <a:schemeClr val="accent1"/>
                </a:solidFill>
              </a:rPr>
              <a:t> </a:t>
            </a:r>
            <a:r>
              <a:rPr lang="en-US" sz="1400" b="1" err="1">
                <a:solidFill>
                  <a:schemeClr val="accent1"/>
                </a:solidFill>
              </a:rPr>
              <a:t>fringilla</a:t>
            </a:r>
            <a:endParaRPr lang="en-US" sz="1400" b="1">
              <a:solidFill>
                <a:schemeClr val="accent1"/>
              </a:solidFill>
            </a:endParaRPr>
          </a:p>
        </p:txBody>
      </p:sp>
      <p:sp>
        <p:nvSpPr>
          <p:cNvPr id="15" name="Rectangle 3">
            <a:extLst>
              <a:ext uri="{FF2B5EF4-FFF2-40B4-BE49-F238E27FC236}">
                <a16:creationId xmlns:a16="http://schemas.microsoft.com/office/drawing/2014/main" id="{F3003425-4360-C65B-9D47-7DEB0653D90E}"/>
              </a:ext>
            </a:extLst>
          </p:cNvPr>
          <p:cNvSpPr>
            <a:spLocks/>
          </p:cNvSpPr>
          <p:nvPr/>
        </p:nvSpPr>
        <p:spPr bwMode="gray">
          <a:xfrm>
            <a:off x="3367252" y="2652380"/>
            <a:ext cx="2493917" cy="36956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indent="0" algn="ctr" fontAlgn="base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2400">
                <a:solidFill>
                  <a:schemeClr val="tx2"/>
                </a:solidFill>
              </a:rPr>
              <a:t>Lorem ipsum</a:t>
            </a:r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77ED3C47-D878-F8A5-6940-8A3BBAFCAD9B}"/>
              </a:ext>
            </a:extLst>
          </p:cNvPr>
          <p:cNvSpPr>
            <a:spLocks/>
          </p:cNvSpPr>
          <p:nvPr/>
        </p:nvSpPr>
        <p:spPr bwMode="gray">
          <a:xfrm>
            <a:off x="3367252" y="3160451"/>
            <a:ext cx="2493917" cy="4311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indent="0" algn="ctr" fontAlgn="base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1400" b="1">
                <a:solidFill>
                  <a:schemeClr val="accent1"/>
                </a:solidFill>
              </a:rPr>
              <a:t>Cras </a:t>
            </a:r>
            <a:r>
              <a:rPr lang="en-US" sz="1400" b="1" err="1">
                <a:solidFill>
                  <a:schemeClr val="accent1"/>
                </a:solidFill>
              </a:rPr>
              <a:t>fringilla</a:t>
            </a:r>
            <a:r>
              <a:rPr lang="en-US" sz="1400" b="1">
                <a:solidFill>
                  <a:schemeClr val="accent1"/>
                </a:solidFill>
              </a:rPr>
              <a:t> </a:t>
            </a:r>
            <a:r>
              <a:rPr lang="en-US" sz="1400" b="1" err="1">
                <a:solidFill>
                  <a:schemeClr val="accent1"/>
                </a:solidFill>
              </a:rPr>
              <a:t>felis</a:t>
            </a:r>
            <a:br>
              <a:rPr lang="en-US" sz="1400" b="1">
                <a:solidFill>
                  <a:schemeClr val="accent1"/>
                </a:solidFill>
              </a:rPr>
            </a:br>
            <a:r>
              <a:rPr lang="en-US" sz="1400" b="1" err="1">
                <a:solidFill>
                  <a:schemeClr val="accent1"/>
                </a:solidFill>
              </a:rPr>
              <a:t>amet</a:t>
            </a:r>
            <a:r>
              <a:rPr lang="en-US" sz="1400" b="1">
                <a:solidFill>
                  <a:schemeClr val="accent1"/>
                </a:solidFill>
              </a:rPr>
              <a:t> </a:t>
            </a:r>
            <a:r>
              <a:rPr lang="en-US" sz="1400" b="1" err="1">
                <a:solidFill>
                  <a:schemeClr val="accent1"/>
                </a:solidFill>
              </a:rPr>
              <a:t>fringilla</a:t>
            </a:r>
            <a:endParaRPr lang="en-US" sz="1400" b="1">
              <a:solidFill>
                <a:schemeClr val="accent1"/>
              </a:solidFill>
            </a:endParaRPr>
          </a:p>
        </p:txBody>
      </p:sp>
      <p:sp>
        <p:nvSpPr>
          <p:cNvPr id="19" name="Rectangle 3">
            <a:extLst>
              <a:ext uri="{FF2B5EF4-FFF2-40B4-BE49-F238E27FC236}">
                <a16:creationId xmlns:a16="http://schemas.microsoft.com/office/drawing/2014/main" id="{C1069943-A50E-8B24-DD11-4C0508FD5931}"/>
              </a:ext>
            </a:extLst>
          </p:cNvPr>
          <p:cNvSpPr>
            <a:spLocks/>
          </p:cNvSpPr>
          <p:nvPr/>
        </p:nvSpPr>
        <p:spPr bwMode="gray">
          <a:xfrm>
            <a:off x="6336594" y="2652380"/>
            <a:ext cx="2493917" cy="36956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indent="0" algn="ctr" fontAlgn="base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2400">
                <a:solidFill>
                  <a:schemeClr val="tx2"/>
                </a:solidFill>
              </a:rPr>
              <a:t>Lorem ipsum</a:t>
            </a:r>
          </a:p>
        </p:txBody>
      </p:sp>
      <p:sp>
        <p:nvSpPr>
          <p:cNvPr id="20" name="Rectangle 3">
            <a:extLst>
              <a:ext uri="{FF2B5EF4-FFF2-40B4-BE49-F238E27FC236}">
                <a16:creationId xmlns:a16="http://schemas.microsoft.com/office/drawing/2014/main" id="{107043CE-4A97-8310-7E9E-AAEC8E7CEC0C}"/>
              </a:ext>
            </a:extLst>
          </p:cNvPr>
          <p:cNvSpPr>
            <a:spLocks/>
          </p:cNvSpPr>
          <p:nvPr/>
        </p:nvSpPr>
        <p:spPr bwMode="gray">
          <a:xfrm>
            <a:off x="6336594" y="3160451"/>
            <a:ext cx="2493917" cy="4311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indent="0" algn="ctr" fontAlgn="base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1400" b="1">
                <a:solidFill>
                  <a:schemeClr val="accent1"/>
                </a:solidFill>
              </a:rPr>
              <a:t>Cras </a:t>
            </a:r>
            <a:r>
              <a:rPr lang="en-US" sz="1400" b="1" err="1">
                <a:solidFill>
                  <a:schemeClr val="accent1"/>
                </a:solidFill>
              </a:rPr>
              <a:t>fringilla</a:t>
            </a:r>
            <a:r>
              <a:rPr lang="en-US" sz="1400" b="1">
                <a:solidFill>
                  <a:schemeClr val="accent1"/>
                </a:solidFill>
              </a:rPr>
              <a:t> </a:t>
            </a:r>
            <a:r>
              <a:rPr lang="en-US" sz="1400" b="1" err="1">
                <a:solidFill>
                  <a:schemeClr val="accent1"/>
                </a:solidFill>
              </a:rPr>
              <a:t>felis</a:t>
            </a:r>
            <a:br>
              <a:rPr lang="en-US" sz="1400" b="1">
                <a:solidFill>
                  <a:schemeClr val="accent1"/>
                </a:solidFill>
              </a:rPr>
            </a:br>
            <a:r>
              <a:rPr lang="en-US" sz="1400" b="1" err="1">
                <a:solidFill>
                  <a:schemeClr val="accent1"/>
                </a:solidFill>
              </a:rPr>
              <a:t>amet</a:t>
            </a:r>
            <a:r>
              <a:rPr lang="en-US" sz="1400" b="1">
                <a:solidFill>
                  <a:schemeClr val="accent1"/>
                </a:solidFill>
              </a:rPr>
              <a:t> </a:t>
            </a:r>
            <a:r>
              <a:rPr lang="en-US" sz="1400" b="1" err="1">
                <a:solidFill>
                  <a:schemeClr val="accent1"/>
                </a:solidFill>
              </a:rPr>
              <a:t>fringilla</a:t>
            </a:r>
            <a:endParaRPr lang="en-US" sz="1400" b="1">
              <a:solidFill>
                <a:schemeClr val="accent1"/>
              </a:solidFill>
            </a:endParaRPr>
          </a:p>
        </p:txBody>
      </p:sp>
      <p:sp>
        <p:nvSpPr>
          <p:cNvPr id="23" name="Rectangle 3">
            <a:extLst>
              <a:ext uri="{FF2B5EF4-FFF2-40B4-BE49-F238E27FC236}">
                <a16:creationId xmlns:a16="http://schemas.microsoft.com/office/drawing/2014/main" id="{310078FE-EFBF-7E02-BA80-5608C534B501}"/>
              </a:ext>
            </a:extLst>
          </p:cNvPr>
          <p:cNvSpPr>
            <a:spLocks/>
          </p:cNvSpPr>
          <p:nvPr/>
        </p:nvSpPr>
        <p:spPr bwMode="gray">
          <a:xfrm>
            <a:off x="9297626" y="2652380"/>
            <a:ext cx="2493917" cy="36956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indent="0" algn="ctr" fontAlgn="base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2400">
                <a:solidFill>
                  <a:schemeClr val="tx2"/>
                </a:solidFill>
              </a:rPr>
              <a:t>Lorem ipsum</a:t>
            </a:r>
          </a:p>
        </p:txBody>
      </p:sp>
      <p:sp>
        <p:nvSpPr>
          <p:cNvPr id="24" name="Rectangle 3">
            <a:extLst>
              <a:ext uri="{FF2B5EF4-FFF2-40B4-BE49-F238E27FC236}">
                <a16:creationId xmlns:a16="http://schemas.microsoft.com/office/drawing/2014/main" id="{A06DAFEE-DB21-3B74-1320-1CC33E7572AB}"/>
              </a:ext>
            </a:extLst>
          </p:cNvPr>
          <p:cNvSpPr>
            <a:spLocks/>
          </p:cNvSpPr>
          <p:nvPr/>
        </p:nvSpPr>
        <p:spPr bwMode="gray">
          <a:xfrm>
            <a:off x="9297626" y="3160451"/>
            <a:ext cx="2493917" cy="4311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indent="0" algn="ctr" fontAlgn="base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1400" b="1">
                <a:solidFill>
                  <a:schemeClr val="accent1"/>
                </a:solidFill>
              </a:rPr>
              <a:t>Cras </a:t>
            </a:r>
            <a:r>
              <a:rPr lang="en-US" sz="1400" b="1" err="1">
                <a:solidFill>
                  <a:schemeClr val="accent1"/>
                </a:solidFill>
              </a:rPr>
              <a:t>fringilla</a:t>
            </a:r>
            <a:r>
              <a:rPr lang="en-US" sz="1400" b="1">
                <a:solidFill>
                  <a:schemeClr val="accent1"/>
                </a:solidFill>
              </a:rPr>
              <a:t> </a:t>
            </a:r>
            <a:r>
              <a:rPr lang="en-US" sz="1400" b="1" err="1">
                <a:solidFill>
                  <a:schemeClr val="accent1"/>
                </a:solidFill>
              </a:rPr>
              <a:t>felis</a:t>
            </a:r>
            <a:br>
              <a:rPr lang="en-US" sz="1400" b="1">
                <a:solidFill>
                  <a:schemeClr val="accent1"/>
                </a:solidFill>
              </a:rPr>
            </a:br>
            <a:r>
              <a:rPr lang="en-US" sz="1400" b="1" err="1">
                <a:solidFill>
                  <a:schemeClr val="accent1"/>
                </a:solidFill>
              </a:rPr>
              <a:t>amet</a:t>
            </a:r>
            <a:r>
              <a:rPr lang="en-US" sz="1400" b="1">
                <a:solidFill>
                  <a:schemeClr val="accent1"/>
                </a:solidFill>
              </a:rPr>
              <a:t> </a:t>
            </a:r>
            <a:r>
              <a:rPr lang="en-US" sz="1400" b="1" err="1">
                <a:solidFill>
                  <a:schemeClr val="accent1"/>
                </a:solidFill>
              </a:rPr>
              <a:t>fringilla</a:t>
            </a:r>
            <a:endParaRPr lang="en-US" sz="1400" b="1">
              <a:solidFill>
                <a:schemeClr val="accent1"/>
              </a:solidFill>
            </a:endParaRPr>
          </a:p>
        </p:txBody>
      </p:sp>
      <p:sp>
        <p:nvSpPr>
          <p:cNvPr id="25" name="Gleichschenkliges Dreieck 15">
            <a:extLst>
              <a:ext uri="{FF2B5EF4-FFF2-40B4-BE49-F238E27FC236}">
                <a16:creationId xmlns:a16="http://schemas.microsoft.com/office/drawing/2014/main" id="{2042F13D-DF39-22E2-CE20-4E915F4CC3B2}"/>
              </a:ext>
            </a:extLst>
          </p:cNvPr>
          <p:cNvSpPr>
            <a:spLocks/>
          </p:cNvSpPr>
          <p:nvPr/>
        </p:nvSpPr>
        <p:spPr>
          <a:xfrm rot="10800000">
            <a:off x="1516362" y="4541588"/>
            <a:ext cx="267599" cy="148314"/>
          </a:xfrm>
          <a:custGeom>
            <a:avLst/>
            <a:gdLst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  <a:gd name="connsiteX3" fmla="*/ 0 w 198882"/>
              <a:gd name="connsiteY3" fmla="*/ 113994 h 113994"/>
              <a:gd name="connsiteX0" fmla="*/ 0 w 198882"/>
              <a:gd name="connsiteY0" fmla="*/ 113994 h 205434"/>
              <a:gd name="connsiteX1" fmla="*/ 99441 w 198882"/>
              <a:gd name="connsiteY1" fmla="*/ 0 h 205434"/>
              <a:gd name="connsiteX2" fmla="*/ 198882 w 198882"/>
              <a:gd name="connsiteY2" fmla="*/ 113994 h 205434"/>
              <a:gd name="connsiteX3" fmla="*/ 91440 w 198882"/>
              <a:gd name="connsiteY3" fmla="*/ 205434 h 205434"/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8882" h="113994">
                <a:moveTo>
                  <a:pt x="0" y="113994"/>
                </a:moveTo>
                <a:lnTo>
                  <a:pt x="99441" y="0"/>
                </a:lnTo>
                <a:lnTo>
                  <a:pt x="198882" y="113994"/>
                </a:ln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6" name="Gerader Verbinder 65">
            <a:extLst>
              <a:ext uri="{FF2B5EF4-FFF2-40B4-BE49-F238E27FC236}">
                <a16:creationId xmlns:a16="http://schemas.microsoft.com/office/drawing/2014/main" id="{0EEBFF41-2447-2725-B6AE-C2146AE3AF36}"/>
              </a:ext>
            </a:extLst>
          </p:cNvPr>
          <p:cNvCxnSpPr>
            <a:cxnSpLocks/>
          </p:cNvCxnSpPr>
          <p:nvPr/>
        </p:nvCxnSpPr>
        <p:spPr>
          <a:xfrm>
            <a:off x="1938224" y="4615745"/>
            <a:ext cx="958895" cy="1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66">
            <a:extLst>
              <a:ext uri="{FF2B5EF4-FFF2-40B4-BE49-F238E27FC236}">
                <a16:creationId xmlns:a16="http://schemas.microsoft.com/office/drawing/2014/main" id="{D88608E4-86B4-A97D-C2E7-CB74F2654DD0}"/>
              </a:ext>
            </a:extLst>
          </p:cNvPr>
          <p:cNvCxnSpPr>
            <a:cxnSpLocks/>
          </p:cNvCxnSpPr>
          <p:nvPr/>
        </p:nvCxnSpPr>
        <p:spPr>
          <a:xfrm flipV="1">
            <a:off x="403204" y="4615745"/>
            <a:ext cx="958895" cy="1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Gleichschenkliges Dreieck 15">
            <a:extLst>
              <a:ext uri="{FF2B5EF4-FFF2-40B4-BE49-F238E27FC236}">
                <a16:creationId xmlns:a16="http://schemas.microsoft.com/office/drawing/2014/main" id="{5083450A-2E65-0A38-E91E-AEC79409A594}"/>
              </a:ext>
            </a:extLst>
          </p:cNvPr>
          <p:cNvSpPr>
            <a:spLocks/>
          </p:cNvSpPr>
          <p:nvPr/>
        </p:nvSpPr>
        <p:spPr>
          <a:xfrm rot="10800000">
            <a:off x="4484250" y="4541588"/>
            <a:ext cx="267599" cy="148314"/>
          </a:xfrm>
          <a:custGeom>
            <a:avLst/>
            <a:gdLst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  <a:gd name="connsiteX3" fmla="*/ 0 w 198882"/>
              <a:gd name="connsiteY3" fmla="*/ 113994 h 113994"/>
              <a:gd name="connsiteX0" fmla="*/ 0 w 198882"/>
              <a:gd name="connsiteY0" fmla="*/ 113994 h 205434"/>
              <a:gd name="connsiteX1" fmla="*/ 99441 w 198882"/>
              <a:gd name="connsiteY1" fmla="*/ 0 h 205434"/>
              <a:gd name="connsiteX2" fmla="*/ 198882 w 198882"/>
              <a:gd name="connsiteY2" fmla="*/ 113994 h 205434"/>
              <a:gd name="connsiteX3" fmla="*/ 91440 w 198882"/>
              <a:gd name="connsiteY3" fmla="*/ 205434 h 205434"/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8882" h="113994">
                <a:moveTo>
                  <a:pt x="0" y="113994"/>
                </a:moveTo>
                <a:lnTo>
                  <a:pt x="99441" y="0"/>
                </a:lnTo>
                <a:lnTo>
                  <a:pt x="198882" y="113994"/>
                </a:ln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9" name="Gerader Verbinder 69">
            <a:extLst>
              <a:ext uri="{FF2B5EF4-FFF2-40B4-BE49-F238E27FC236}">
                <a16:creationId xmlns:a16="http://schemas.microsoft.com/office/drawing/2014/main" id="{CBD1DB96-7A2E-FD60-B1E0-1B4008F4EB90}"/>
              </a:ext>
            </a:extLst>
          </p:cNvPr>
          <p:cNvCxnSpPr>
            <a:cxnSpLocks/>
          </p:cNvCxnSpPr>
          <p:nvPr/>
        </p:nvCxnSpPr>
        <p:spPr>
          <a:xfrm>
            <a:off x="4906112" y="4615745"/>
            <a:ext cx="958895" cy="1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70">
            <a:extLst>
              <a:ext uri="{FF2B5EF4-FFF2-40B4-BE49-F238E27FC236}">
                <a16:creationId xmlns:a16="http://schemas.microsoft.com/office/drawing/2014/main" id="{BDEF7539-67CA-02FE-5588-3EFD50EEADF2}"/>
              </a:ext>
            </a:extLst>
          </p:cNvPr>
          <p:cNvCxnSpPr>
            <a:cxnSpLocks/>
          </p:cNvCxnSpPr>
          <p:nvPr/>
        </p:nvCxnSpPr>
        <p:spPr>
          <a:xfrm flipV="1">
            <a:off x="3371092" y="4615745"/>
            <a:ext cx="958895" cy="1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Gleichschenkliges Dreieck 15">
            <a:extLst>
              <a:ext uri="{FF2B5EF4-FFF2-40B4-BE49-F238E27FC236}">
                <a16:creationId xmlns:a16="http://schemas.microsoft.com/office/drawing/2014/main" id="{0BABD3A2-FB7F-141D-A0BE-90FAC6BD809E}"/>
              </a:ext>
            </a:extLst>
          </p:cNvPr>
          <p:cNvSpPr>
            <a:spLocks/>
          </p:cNvSpPr>
          <p:nvPr/>
        </p:nvSpPr>
        <p:spPr>
          <a:xfrm rot="10800000">
            <a:off x="7452138" y="4541588"/>
            <a:ext cx="267599" cy="148314"/>
          </a:xfrm>
          <a:custGeom>
            <a:avLst/>
            <a:gdLst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  <a:gd name="connsiteX3" fmla="*/ 0 w 198882"/>
              <a:gd name="connsiteY3" fmla="*/ 113994 h 113994"/>
              <a:gd name="connsiteX0" fmla="*/ 0 w 198882"/>
              <a:gd name="connsiteY0" fmla="*/ 113994 h 205434"/>
              <a:gd name="connsiteX1" fmla="*/ 99441 w 198882"/>
              <a:gd name="connsiteY1" fmla="*/ 0 h 205434"/>
              <a:gd name="connsiteX2" fmla="*/ 198882 w 198882"/>
              <a:gd name="connsiteY2" fmla="*/ 113994 h 205434"/>
              <a:gd name="connsiteX3" fmla="*/ 91440 w 198882"/>
              <a:gd name="connsiteY3" fmla="*/ 205434 h 205434"/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8882" h="113994">
                <a:moveTo>
                  <a:pt x="0" y="113994"/>
                </a:moveTo>
                <a:lnTo>
                  <a:pt x="99441" y="0"/>
                </a:lnTo>
                <a:lnTo>
                  <a:pt x="198882" y="113994"/>
                </a:ln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2" name="Gerader Verbinder 73">
            <a:extLst>
              <a:ext uri="{FF2B5EF4-FFF2-40B4-BE49-F238E27FC236}">
                <a16:creationId xmlns:a16="http://schemas.microsoft.com/office/drawing/2014/main" id="{5E69B18D-6C60-3CBD-8AAE-E31D351A747F}"/>
              </a:ext>
            </a:extLst>
          </p:cNvPr>
          <p:cNvCxnSpPr>
            <a:cxnSpLocks/>
          </p:cNvCxnSpPr>
          <p:nvPr/>
        </p:nvCxnSpPr>
        <p:spPr>
          <a:xfrm>
            <a:off x="7874000" y="4615745"/>
            <a:ext cx="958895" cy="1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74">
            <a:extLst>
              <a:ext uri="{FF2B5EF4-FFF2-40B4-BE49-F238E27FC236}">
                <a16:creationId xmlns:a16="http://schemas.microsoft.com/office/drawing/2014/main" id="{960B5DC4-4C6B-30A8-6CD2-D2491109F580}"/>
              </a:ext>
            </a:extLst>
          </p:cNvPr>
          <p:cNvCxnSpPr>
            <a:cxnSpLocks/>
          </p:cNvCxnSpPr>
          <p:nvPr/>
        </p:nvCxnSpPr>
        <p:spPr>
          <a:xfrm flipV="1">
            <a:off x="6338980" y="4615745"/>
            <a:ext cx="958895" cy="1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Gleichschenkliges Dreieck 15">
            <a:extLst>
              <a:ext uri="{FF2B5EF4-FFF2-40B4-BE49-F238E27FC236}">
                <a16:creationId xmlns:a16="http://schemas.microsoft.com/office/drawing/2014/main" id="{9DDCD1CF-9A1A-5A71-7BD8-586A5A86692D}"/>
              </a:ext>
            </a:extLst>
          </p:cNvPr>
          <p:cNvSpPr>
            <a:spLocks/>
          </p:cNvSpPr>
          <p:nvPr/>
        </p:nvSpPr>
        <p:spPr>
          <a:xfrm rot="10800000">
            <a:off x="10420026" y="4541588"/>
            <a:ext cx="267599" cy="148314"/>
          </a:xfrm>
          <a:custGeom>
            <a:avLst/>
            <a:gdLst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  <a:gd name="connsiteX3" fmla="*/ 0 w 198882"/>
              <a:gd name="connsiteY3" fmla="*/ 113994 h 113994"/>
              <a:gd name="connsiteX0" fmla="*/ 0 w 198882"/>
              <a:gd name="connsiteY0" fmla="*/ 113994 h 205434"/>
              <a:gd name="connsiteX1" fmla="*/ 99441 w 198882"/>
              <a:gd name="connsiteY1" fmla="*/ 0 h 205434"/>
              <a:gd name="connsiteX2" fmla="*/ 198882 w 198882"/>
              <a:gd name="connsiteY2" fmla="*/ 113994 h 205434"/>
              <a:gd name="connsiteX3" fmla="*/ 91440 w 198882"/>
              <a:gd name="connsiteY3" fmla="*/ 205434 h 205434"/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8882" h="113994">
                <a:moveTo>
                  <a:pt x="0" y="113994"/>
                </a:moveTo>
                <a:lnTo>
                  <a:pt x="99441" y="0"/>
                </a:lnTo>
                <a:lnTo>
                  <a:pt x="198882" y="113994"/>
                </a:ln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5" name="Gerader Verbinder 77">
            <a:extLst>
              <a:ext uri="{FF2B5EF4-FFF2-40B4-BE49-F238E27FC236}">
                <a16:creationId xmlns:a16="http://schemas.microsoft.com/office/drawing/2014/main" id="{8EE134BB-1293-1294-FF44-4DE9F0DA1F3D}"/>
              </a:ext>
            </a:extLst>
          </p:cNvPr>
          <p:cNvCxnSpPr>
            <a:cxnSpLocks/>
          </p:cNvCxnSpPr>
          <p:nvPr/>
        </p:nvCxnSpPr>
        <p:spPr>
          <a:xfrm>
            <a:off x="10841888" y="4615754"/>
            <a:ext cx="958895" cy="1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78">
            <a:extLst>
              <a:ext uri="{FF2B5EF4-FFF2-40B4-BE49-F238E27FC236}">
                <a16:creationId xmlns:a16="http://schemas.microsoft.com/office/drawing/2014/main" id="{7B2FE2DF-F7B9-7AD6-A1EA-7460C35D6440}"/>
              </a:ext>
            </a:extLst>
          </p:cNvPr>
          <p:cNvCxnSpPr>
            <a:cxnSpLocks/>
          </p:cNvCxnSpPr>
          <p:nvPr/>
        </p:nvCxnSpPr>
        <p:spPr>
          <a:xfrm flipV="1">
            <a:off x="9306868" y="4615745"/>
            <a:ext cx="958895" cy="1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Ellipse 7">
            <a:extLst>
              <a:ext uri="{FF2B5EF4-FFF2-40B4-BE49-F238E27FC236}">
                <a16:creationId xmlns:a16="http://schemas.microsoft.com/office/drawing/2014/main" id="{DE2457A1-C9C7-2083-A6AF-A045F9870DB2}"/>
              </a:ext>
            </a:extLst>
          </p:cNvPr>
          <p:cNvSpPr>
            <a:spLocks/>
          </p:cNvSpPr>
          <p:nvPr/>
        </p:nvSpPr>
        <p:spPr bwMode="gray">
          <a:xfrm>
            <a:off x="1231046" y="1554837"/>
            <a:ext cx="838229" cy="838136"/>
          </a:xfrm>
          <a:prstGeom prst="ellipse">
            <a:avLst/>
          </a:prstGeom>
          <a:solidFill>
            <a:schemeClr val="bg2"/>
          </a:solidFill>
          <a:ln w="19050" cap="rnd" cmpd="sng" algn="ctr">
            <a:noFill/>
            <a:prstDash val="solid"/>
            <a:round/>
            <a:headEnd type="oval" w="med" len="med"/>
            <a:tailEnd type="oval" w="med" len="med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" name="Ellipse 9">
            <a:extLst>
              <a:ext uri="{FF2B5EF4-FFF2-40B4-BE49-F238E27FC236}">
                <a16:creationId xmlns:a16="http://schemas.microsoft.com/office/drawing/2014/main" id="{33892F6C-7E7A-BA5F-D512-689B56F03F02}"/>
              </a:ext>
            </a:extLst>
          </p:cNvPr>
          <p:cNvSpPr>
            <a:spLocks/>
          </p:cNvSpPr>
          <p:nvPr/>
        </p:nvSpPr>
        <p:spPr bwMode="gray">
          <a:xfrm>
            <a:off x="4195097" y="1554837"/>
            <a:ext cx="838229" cy="838136"/>
          </a:xfrm>
          <a:prstGeom prst="ellipse">
            <a:avLst/>
          </a:prstGeom>
          <a:solidFill>
            <a:srgbClr val="FFFFFF"/>
          </a:solidFill>
          <a:ln w="6350" cap="rnd" cmpd="sng" algn="ctr">
            <a:solidFill>
              <a:schemeClr val="accent5"/>
            </a:solidFill>
            <a:prstDash val="solid"/>
            <a:round/>
            <a:headEnd type="oval" w="med" len="med"/>
            <a:tailEnd type="oval" w="med" len="med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" name="Ellipse 10">
            <a:extLst>
              <a:ext uri="{FF2B5EF4-FFF2-40B4-BE49-F238E27FC236}">
                <a16:creationId xmlns:a16="http://schemas.microsoft.com/office/drawing/2014/main" id="{D0DD3BC8-12FE-6E79-3901-0645609C895B}"/>
              </a:ext>
            </a:extLst>
          </p:cNvPr>
          <p:cNvSpPr>
            <a:spLocks/>
          </p:cNvSpPr>
          <p:nvPr/>
        </p:nvSpPr>
        <p:spPr bwMode="gray">
          <a:xfrm>
            <a:off x="7164439" y="1554837"/>
            <a:ext cx="838229" cy="838136"/>
          </a:xfrm>
          <a:prstGeom prst="ellipse">
            <a:avLst/>
          </a:prstGeom>
          <a:solidFill>
            <a:schemeClr val="bg2"/>
          </a:solidFill>
          <a:ln w="19050" cap="rnd" cmpd="sng" algn="ctr">
            <a:noFill/>
            <a:prstDash val="solid"/>
            <a:round/>
            <a:headEnd type="oval" w="med" len="med"/>
            <a:tailEnd type="oval" w="med" len="med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6" name="Ellipse 11">
            <a:extLst>
              <a:ext uri="{FF2B5EF4-FFF2-40B4-BE49-F238E27FC236}">
                <a16:creationId xmlns:a16="http://schemas.microsoft.com/office/drawing/2014/main" id="{EE346D28-8F5D-5462-F7BD-B8F912C27687}"/>
              </a:ext>
            </a:extLst>
          </p:cNvPr>
          <p:cNvSpPr>
            <a:spLocks/>
          </p:cNvSpPr>
          <p:nvPr/>
        </p:nvSpPr>
        <p:spPr bwMode="gray">
          <a:xfrm>
            <a:off x="10125471" y="1554837"/>
            <a:ext cx="838229" cy="838136"/>
          </a:xfrm>
          <a:prstGeom prst="ellipse">
            <a:avLst/>
          </a:prstGeom>
          <a:solidFill>
            <a:srgbClr val="FFFFFF"/>
          </a:solidFill>
          <a:ln w="6350" cap="rnd" cmpd="sng" algn="ctr">
            <a:solidFill>
              <a:schemeClr val="accent5"/>
            </a:solidFill>
            <a:prstDash val="solid"/>
            <a:round/>
            <a:headEnd type="oval" w="med" len="med"/>
            <a:tailEnd type="oval" w="med" len="med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37" name="Grafik 45">
            <a:extLst>
              <a:ext uri="{FF2B5EF4-FFF2-40B4-BE49-F238E27FC236}">
                <a16:creationId xmlns:a16="http://schemas.microsoft.com/office/drawing/2014/main" id="{9D26C10A-FE65-395C-F87C-DD6508C01E52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397678" y="1721422"/>
            <a:ext cx="504964" cy="504964"/>
          </a:xfrm>
          <a:prstGeom prst="rect">
            <a:avLst/>
          </a:prstGeom>
        </p:spPr>
      </p:pic>
      <p:pic>
        <p:nvPicPr>
          <p:cNvPr id="38" name="Grafik 46">
            <a:extLst>
              <a:ext uri="{FF2B5EF4-FFF2-40B4-BE49-F238E27FC236}">
                <a16:creationId xmlns:a16="http://schemas.microsoft.com/office/drawing/2014/main" id="{E0F94CF6-9F1A-F495-8D02-12D2E4497157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292104" y="1721422"/>
            <a:ext cx="504964" cy="504964"/>
          </a:xfrm>
          <a:prstGeom prst="rect">
            <a:avLst/>
          </a:prstGeom>
        </p:spPr>
      </p:pic>
      <p:pic>
        <p:nvPicPr>
          <p:cNvPr id="39" name="Grafik 47">
            <a:extLst>
              <a:ext uri="{FF2B5EF4-FFF2-40B4-BE49-F238E27FC236}">
                <a16:creationId xmlns:a16="http://schemas.microsoft.com/office/drawing/2014/main" id="{D5CC0D74-6D7A-2F22-3ABF-E7E8EAA596CB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331072" y="1721422"/>
            <a:ext cx="504964" cy="504964"/>
          </a:xfrm>
          <a:prstGeom prst="rect">
            <a:avLst/>
          </a:prstGeom>
        </p:spPr>
      </p:pic>
      <p:pic>
        <p:nvPicPr>
          <p:cNvPr id="40" name="Grafik 48">
            <a:extLst>
              <a:ext uri="{FF2B5EF4-FFF2-40B4-BE49-F238E27FC236}">
                <a16:creationId xmlns:a16="http://schemas.microsoft.com/office/drawing/2014/main" id="{F39AD406-91DF-B5F7-14F3-FD06C69CECC9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361729" y="1721422"/>
            <a:ext cx="504964" cy="504964"/>
          </a:xfrm>
          <a:prstGeom prst="rect">
            <a:avLst/>
          </a:prstGeom>
        </p:spPr>
      </p:pic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45F73535-4EAD-0B71-1772-6232BC886397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403176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infographics, processes, topic, result, icon, icons</a:t>
            </a:r>
          </a:p>
        </p:txBody>
      </p:sp>
    </p:spTree>
    <p:extLst>
      <p:ext uri="{BB962C8B-B14F-4D97-AF65-F5344CB8AC3E}">
        <p14:creationId xmlns:p14="http://schemas.microsoft.com/office/powerpoint/2010/main" val="10696962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